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IN" b="1"/>
              <a:t>Title</a:t>
            </a:r>
          </a:p>
        </c:rich>
      </c:tx>
      <c:layout>
        <c:manualLayout>
          <c:xMode val="edge"/>
          <c:yMode val="edge"/>
          <c:x val="0.45498223551633615"/>
          <c:y val="2.3961857251480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251545891767368E-2"/>
          <c:y val="0.14237777094351228"/>
          <c:w val="0.92916428888978697"/>
          <c:h val="0.560833872632351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EF-4D30-AEEA-4582589260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EF-4D30-AEEA-458258926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4246255"/>
        <c:axId val="12568959"/>
      </c:barChart>
      <c:catAx>
        <c:axId val="46424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568959"/>
        <c:crosses val="autoZero"/>
        <c:auto val="1"/>
        <c:lblAlgn val="ctr"/>
        <c:lblOffset val="100"/>
        <c:noMultiLvlLbl val="0"/>
      </c:catAx>
      <c:valAx>
        <c:axId val="12568959"/>
        <c:scaling>
          <c:orientation val="minMax"/>
          <c:max val="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424625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48373002640692"/>
          <c:y val="0.88895071990491603"/>
          <c:w val="0.50675002958412163"/>
          <c:h val="0.108828812340922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F305C-D4B5-3347-8F13-E64764F3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9885905-F857-4D8B-334B-739FC0EA0C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85905-F857-4D8B-334B-739FC0EA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5A8537-128C-C4E6-6FFC-6369B2B7F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B7B9392-55C6-836E-EB0A-BDCF237692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2_20210630_091508">
            <a:extLst>
              <a:ext uri="{FF2B5EF4-FFF2-40B4-BE49-F238E27FC236}">
                <a16:creationId xmlns:a16="http://schemas.microsoft.com/office/drawing/2014/main" id="{C37DCC02-1622-7660-5AF1-8F7511C165B6}"/>
              </a:ext>
            </a:extLst>
          </p:cNvPr>
          <p:cNvSpPr/>
          <p:nvPr/>
        </p:nvSpPr>
        <p:spPr>
          <a:xfrm>
            <a:off x="714254" y="2228736"/>
            <a:ext cx="586706" cy="584299"/>
          </a:xfrm>
          <a:custGeom>
            <a:avLst/>
            <a:gdLst/>
            <a:ahLst/>
            <a:cxnLst/>
            <a:rect l="l" t="t" r="r" b="b"/>
            <a:pathLst>
              <a:path w="3657" h="3636" extrusionOk="0">
                <a:moveTo>
                  <a:pt x="1829" y="123"/>
                </a:moveTo>
                <a:lnTo>
                  <a:pt x="1716" y="128"/>
                </a:lnTo>
                <a:lnTo>
                  <a:pt x="1606" y="138"/>
                </a:lnTo>
                <a:lnTo>
                  <a:pt x="1498" y="156"/>
                </a:lnTo>
                <a:lnTo>
                  <a:pt x="1393" y="180"/>
                </a:lnTo>
                <a:lnTo>
                  <a:pt x="1290" y="211"/>
                </a:lnTo>
                <a:lnTo>
                  <a:pt x="1190" y="247"/>
                </a:lnTo>
                <a:lnTo>
                  <a:pt x="1093" y="289"/>
                </a:lnTo>
                <a:lnTo>
                  <a:pt x="999" y="338"/>
                </a:lnTo>
                <a:lnTo>
                  <a:pt x="909" y="392"/>
                </a:lnTo>
                <a:lnTo>
                  <a:pt x="823" y="452"/>
                </a:lnTo>
                <a:lnTo>
                  <a:pt x="739" y="515"/>
                </a:lnTo>
                <a:lnTo>
                  <a:pt x="661" y="584"/>
                </a:lnTo>
                <a:lnTo>
                  <a:pt x="588" y="658"/>
                </a:lnTo>
                <a:lnTo>
                  <a:pt x="518" y="736"/>
                </a:lnTo>
                <a:lnTo>
                  <a:pt x="453" y="818"/>
                </a:lnTo>
                <a:lnTo>
                  <a:pt x="393" y="904"/>
                </a:lnTo>
                <a:lnTo>
                  <a:pt x="340" y="994"/>
                </a:lnTo>
                <a:lnTo>
                  <a:pt x="291" y="1087"/>
                </a:lnTo>
                <a:lnTo>
                  <a:pt x="248" y="1184"/>
                </a:lnTo>
                <a:lnTo>
                  <a:pt x="211" y="1283"/>
                </a:lnTo>
                <a:lnTo>
                  <a:pt x="180" y="1385"/>
                </a:lnTo>
                <a:lnTo>
                  <a:pt x="155" y="1490"/>
                </a:lnTo>
                <a:lnTo>
                  <a:pt x="138" y="1597"/>
                </a:lnTo>
                <a:lnTo>
                  <a:pt x="127" y="1707"/>
                </a:lnTo>
                <a:lnTo>
                  <a:pt x="124" y="1818"/>
                </a:lnTo>
                <a:lnTo>
                  <a:pt x="127" y="1929"/>
                </a:lnTo>
                <a:lnTo>
                  <a:pt x="138" y="2038"/>
                </a:lnTo>
                <a:lnTo>
                  <a:pt x="155" y="2145"/>
                </a:lnTo>
                <a:lnTo>
                  <a:pt x="180" y="2250"/>
                </a:lnTo>
                <a:lnTo>
                  <a:pt x="211" y="2353"/>
                </a:lnTo>
                <a:lnTo>
                  <a:pt x="248" y="2453"/>
                </a:lnTo>
                <a:lnTo>
                  <a:pt x="291" y="2548"/>
                </a:lnTo>
                <a:lnTo>
                  <a:pt x="340" y="2642"/>
                </a:lnTo>
                <a:lnTo>
                  <a:pt x="393" y="2732"/>
                </a:lnTo>
                <a:lnTo>
                  <a:pt x="453" y="2818"/>
                </a:lnTo>
                <a:lnTo>
                  <a:pt x="518" y="2900"/>
                </a:lnTo>
                <a:lnTo>
                  <a:pt x="588" y="2978"/>
                </a:lnTo>
                <a:lnTo>
                  <a:pt x="661" y="3052"/>
                </a:lnTo>
                <a:lnTo>
                  <a:pt x="739" y="3121"/>
                </a:lnTo>
                <a:lnTo>
                  <a:pt x="823" y="3185"/>
                </a:lnTo>
                <a:lnTo>
                  <a:pt x="909" y="3244"/>
                </a:lnTo>
                <a:lnTo>
                  <a:pt x="999" y="3298"/>
                </a:lnTo>
                <a:lnTo>
                  <a:pt x="1093" y="3346"/>
                </a:lnTo>
                <a:lnTo>
                  <a:pt x="1190" y="3389"/>
                </a:lnTo>
                <a:lnTo>
                  <a:pt x="1290" y="3426"/>
                </a:lnTo>
                <a:lnTo>
                  <a:pt x="1393" y="3456"/>
                </a:lnTo>
                <a:lnTo>
                  <a:pt x="1498" y="3480"/>
                </a:lnTo>
                <a:lnTo>
                  <a:pt x="1606" y="3497"/>
                </a:lnTo>
                <a:lnTo>
                  <a:pt x="1716" y="3509"/>
                </a:lnTo>
                <a:lnTo>
                  <a:pt x="1829" y="3512"/>
                </a:lnTo>
                <a:lnTo>
                  <a:pt x="1940" y="3509"/>
                </a:lnTo>
                <a:lnTo>
                  <a:pt x="2050" y="3497"/>
                </a:lnTo>
                <a:lnTo>
                  <a:pt x="2158" y="3480"/>
                </a:lnTo>
                <a:lnTo>
                  <a:pt x="2263" y="3456"/>
                </a:lnTo>
                <a:lnTo>
                  <a:pt x="2366" y="3426"/>
                </a:lnTo>
                <a:lnTo>
                  <a:pt x="2467" y="3389"/>
                </a:lnTo>
                <a:lnTo>
                  <a:pt x="2563" y="3346"/>
                </a:lnTo>
                <a:lnTo>
                  <a:pt x="2657" y="3298"/>
                </a:lnTo>
                <a:lnTo>
                  <a:pt x="2748" y="3244"/>
                </a:lnTo>
                <a:lnTo>
                  <a:pt x="2835" y="3185"/>
                </a:lnTo>
                <a:lnTo>
                  <a:pt x="2917" y="3121"/>
                </a:lnTo>
                <a:lnTo>
                  <a:pt x="2996" y="3052"/>
                </a:lnTo>
                <a:lnTo>
                  <a:pt x="3070" y="2978"/>
                </a:lnTo>
                <a:lnTo>
                  <a:pt x="3139" y="2900"/>
                </a:lnTo>
                <a:lnTo>
                  <a:pt x="3204" y="2818"/>
                </a:lnTo>
                <a:lnTo>
                  <a:pt x="3263" y="2732"/>
                </a:lnTo>
                <a:lnTo>
                  <a:pt x="3318" y="2642"/>
                </a:lnTo>
                <a:lnTo>
                  <a:pt x="3367" y="2548"/>
                </a:lnTo>
                <a:lnTo>
                  <a:pt x="3409" y="2453"/>
                </a:lnTo>
                <a:lnTo>
                  <a:pt x="3447" y="2353"/>
                </a:lnTo>
                <a:lnTo>
                  <a:pt x="3477" y="2250"/>
                </a:lnTo>
                <a:lnTo>
                  <a:pt x="3501" y="2145"/>
                </a:lnTo>
                <a:lnTo>
                  <a:pt x="3520" y="2038"/>
                </a:lnTo>
                <a:lnTo>
                  <a:pt x="3530" y="1929"/>
                </a:lnTo>
                <a:lnTo>
                  <a:pt x="3533" y="1818"/>
                </a:lnTo>
                <a:lnTo>
                  <a:pt x="3530" y="1707"/>
                </a:lnTo>
                <a:lnTo>
                  <a:pt x="3520" y="1597"/>
                </a:lnTo>
                <a:lnTo>
                  <a:pt x="3501" y="1490"/>
                </a:lnTo>
                <a:lnTo>
                  <a:pt x="3477" y="1385"/>
                </a:lnTo>
                <a:lnTo>
                  <a:pt x="3447" y="1283"/>
                </a:lnTo>
                <a:lnTo>
                  <a:pt x="3409" y="1184"/>
                </a:lnTo>
                <a:lnTo>
                  <a:pt x="3367" y="1087"/>
                </a:lnTo>
                <a:lnTo>
                  <a:pt x="3318" y="994"/>
                </a:lnTo>
                <a:lnTo>
                  <a:pt x="3263" y="904"/>
                </a:lnTo>
                <a:lnTo>
                  <a:pt x="3204" y="818"/>
                </a:lnTo>
                <a:lnTo>
                  <a:pt x="3139" y="736"/>
                </a:lnTo>
                <a:lnTo>
                  <a:pt x="3070" y="658"/>
                </a:lnTo>
                <a:lnTo>
                  <a:pt x="2996" y="584"/>
                </a:lnTo>
                <a:lnTo>
                  <a:pt x="2917" y="515"/>
                </a:lnTo>
                <a:lnTo>
                  <a:pt x="2835" y="452"/>
                </a:lnTo>
                <a:lnTo>
                  <a:pt x="2748" y="392"/>
                </a:lnTo>
                <a:lnTo>
                  <a:pt x="2657" y="338"/>
                </a:lnTo>
                <a:lnTo>
                  <a:pt x="2563" y="289"/>
                </a:lnTo>
                <a:lnTo>
                  <a:pt x="2467" y="247"/>
                </a:lnTo>
                <a:lnTo>
                  <a:pt x="2366" y="211"/>
                </a:lnTo>
                <a:lnTo>
                  <a:pt x="2263" y="180"/>
                </a:lnTo>
                <a:lnTo>
                  <a:pt x="2158" y="156"/>
                </a:lnTo>
                <a:lnTo>
                  <a:pt x="2050" y="138"/>
                </a:lnTo>
                <a:lnTo>
                  <a:pt x="1940" y="128"/>
                </a:lnTo>
                <a:lnTo>
                  <a:pt x="1829" y="123"/>
                </a:lnTo>
                <a:close/>
                <a:moveTo>
                  <a:pt x="1829" y="0"/>
                </a:moveTo>
                <a:lnTo>
                  <a:pt x="1943" y="5"/>
                </a:lnTo>
                <a:lnTo>
                  <a:pt x="2058" y="15"/>
                </a:lnTo>
                <a:lnTo>
                  <a:pt x="2169" y="32"/>
                </a:lnTo>
                <a:lnTo>
                  <a:pt x="2278" y="57"/>
                </a:lnTo>
                <a:lnTo>
                  <a:pt x="2385" y="87"/>
                </a:lnTo>
                <a:lnTo>
                  <a:pt x="2489" y="123"/>
                </a:lnTo>
                <a:lnTo>
                  <a:pt x="2590" y="166"/>
                </a:lnTo>
                <a:lnTo>
                  <a:pt x="2687" y="214"/>
                </a:lnTo>
                <a:lnTo>
                  <a:pt x="2782" y="267"/>
                </a:lnTo>
                <a:lnTo>
                  <a:pt x="2873" y="327"/>
                </a:lnTo>
                <a:lnTo>
                  <a:pt x="2960" y="391"/>
                </a:lnTo>
                <a:lnTo>
                  <a:pt x="3042" y="460"/>
                </a:lnTo>
                <a:lnTo>
                  <a:pt x="3121" y="533"/>
                </a:lnTo>
                <a:lnTo>
                  <a:pt x="3195" y="612"/>
                </a:lnTo>
                <a:lnTo>
                  <a:pt x="3265" y="695"/>
                </a:lnTo>
                <a:lnTo>
                  <a:pt x="3329" y="781"/>
                </a:lnTo>
                <a:lnTo>
                  <a:pt x="3389" y="871"/>
                </a:lnTo>
                <a:lnTo>
                  <a:pt x="3443" y="964"/>
                </a:lnTo>
                <a:lnTo>
                  <a:pt x="3492" y="1062"/>
                </a:lnTo>
                <a:lnTo>
                  <a:pt x="3535" y="1162"/>
                </a:lnTo>
                <a:lnTo>
                  <a:pt x="3571" y="1266"/>
                </a:lnTo>
                <a:lnTo>
                  <a:pt x="3602" y="1372"/>
                </a:lnTo>
                <a:lnTo>
                  <a:pt x="3626" y="1480"/>
                </a:lnTo>
                <a:lnTo>
                  <a:pt x="3644" y="1590"/>
                </a:lnTo>
                <a:lnTo>
                  <a:pt x="3654" y="1703"/>
                </a:lnTo>
                <a:lnTo>
                  <a:pt x="3657" y="1818"/>
                </a:lnTo>
                <a:lnTo>
                  <a:pt x="3654" y="1932"/>
                </a:lnTo>
                <a:lnTo>
                  <a:pt x="3644" y="2045"/>
                </a:lnTo>
                <a:lnTo>
                  <a:pt x="3626" y="2157"/>
                </a:lnTo>
                <a:lnTo>
                  <a:pt x="3602" y="2265"/>
                </a:lnTo>
                <a:lnTo>
                  <a:pt x="3571" y="2371"/>
                </a:lnTo>
                <a:lnTo>
                  <a:pt x="3535" y="2475"/>
                </a:lnTo>
                <a:lnTo>
                  <a:pt x="3492" y="2575"/>
                </a:lnTo>
                <a:lnTo>
                  <a:pt x="3443" y="2672"/>
                </a:lnTo>
                <a:lnTo>
                  <a:pt x="3389" y="2766"/>
                </a:lnTo>
                <a:lnTo>
                  <a:pt x="3329" y="2856"/>
                </a:lnTo>
                <a:lnTo>
                  <a:pt x="3265" y="2942"/>
                </a:lnTo>
                <a:lnTo>
                  <a:pt x="3195" y="3024"/>
                </a:lnTo>
                <a:lnTo>
                  <a:pt x="3121" y="3102"/>
                </a:lnTo>
                <a:lnTo>
                  <a:pt x="3042" y="3176"/>
                </a:lnTo>
                <a:lnTo>
                  <a:pt x="2960" y="3245"/>
                </a:lnTo>
                <a:lnTo>
                  <a:pt x="2873" y="3310"/>
                </a:lnTo>
                <a:lnTo>
                  <a:pt x="2782" y="3368"/>
                </a:lnTo>
                <a:lnTo>
                  <a:pt x="2687" y="3422"/>
                </a:lnTo>
                <a:lnTo>
                  <a:pt x="2590" y="3471"/>
                </a:lnTo>
                <a:lnTo>
                  <a:pt x="2489" y="3513"/>
                </a:lnTo>
                <a:lnTo>
                  <a:pt x="2385" y="3549"/>
                </a:lnTo>
                <a:lnTo>
                  <a:pt x="2278" y="3580"/>
                </a:lnTo>
                <a:lnTo>
                  <a:pt x="2169" y="3604"/>
                </a:lnTo>
                <a:lnTo>
                  <a:pt x="2058" y="3622"/>
                </a:lnTo>
                <a:lnTo>
                  <a:pt x="1943" y="3632"/>
                </a:lnTo>
                <a:lnTo>
                  <a:pt x="1829" y="3636"/>
                </a:lnTo>
                <a:lnTo>
                  <a:pt x="1713" y="3632"/>
                </a:lnTo>
                <a:lnTo>
                  <a:pt x="1599" y="3622"/>
                </a:lnTo>
                <a:lnTo>
                  <a:pt x="1488" y="3604"/>
                </a:lnTo>
                <a:lnTo>
                  <a:pt x="1379" y="3580"/>
                </a:lnTo>
                <a:lnTo>
                  <a:pt x="1272" y="3549"/>
                </a:lnTo>
                <a:lnTo>
                  <a:pt x="1168" y="3513"/>
                </a:lnTo>
                <a:lnTo>
                  <a:pt x="1067" y="3471"/>
                </a:lnTo>
                <a:lnTo>
                  <a:pt x="969" y="3422"/>
                </a:lnTo>
                <a:lnTo>
                  <a:pt x="875" y="3368"/>
                </a:lnTo>
                <a:lnTo>
                  <a:pt x="785" y="3310"/>
                </a:lnTo>
                <a:lnTo>
                  <a:pt x="698" y="3245"/>
                </a:lnTo>
                <a:lnTo>
                  <a:pt x="614" y="3176"/>
                </a:lnTo>
                <a:lnTo>
                  <a:pt x="535" y="3102"/>
                </a:lnTo>
                <a:lnTo>
                  <a:pt x="461" y="3024"/>
                </a:lnTo>
                <a:lnTo>
                  <a:pt x="392" y="2942"/>
                </a:lnTo>
                <a:lnTo>
                  <a:pt x="328" y="2856"/>
                </a:lnTo>
                <a:lnTo>
                  <a:pt x="268" y="2766"/>
                </a:lnTo>
                <a:lnTo>
                  <a:pt x="214" y="2672"/>
                </a:lnTo>
                <a:lnTo>
                  <a:pt x="166" y="2575"/>
                </a:lnTo>
                <a:lnTo>
                  <a:pt x="123" y="2475"/>
                </a:lnTo>
                <a:lnTo>
                  <a:pt x="86" y="2371"/>
                </a:lnTo>
                <a:lnTo>
                  <a:pt x="56" y="2265"/>
                </a:lnTo>
                <a:lnTo>
                  <a:pt x="31" y="2157"/>
                </a:lnTo>
                <a:lnTo>
                  <a:pt x="14" y="2045"/>
                </a:lnTo>
                <a:lnTo>
                  <a:pt x="3" y="1932"/>
                </a:lnTo>
                <a:lnTo>
                  <a:pt x="0" y="1818"/>
                </a:lnTo>
                <a:lnTo>
                  <a:pt x="3" y="1703"/>
                </a:lnTo>
                <a:lnTo>
                  <a:pt x="14" y="1590"/>
                </a:lnTo>
                <a:lnTo>
                  <a:pt x="31" y="1480"/>
                </a:lnTo>
                <a:lnTo>
                  <a:pt x="56" y="1372"/>
                </a:lnTo>
                <a:lnTo>
                  <a:pt x="86" y="1266"/>
                </a:lnTo>
                <a:lnTo>
                  <a:pt x="123" y="1162"/>
                </a:lnTo>
                <a:lnTo>
                  <a:pt x="166" y="1062"/>
                </a:lnTo>
                <a:lnTo>
                  <a:pt x="214" y="964"/>
                </a:lnTo>
                <a:lnTo>
                  <a:pt x="268" y="871"/>
                </a:lnTo>
                <a:lnTo>
                  <a:pt x="328" y="781"/>
                </a:lnTo>
                <a:lnTo>
                  <a:pt x="392" y="695"/>
                </a:lnTo>
                <a:lnTo>
                  <a:pt x="461" y="612"/>
                </a:lnTo>
                <a:lnTo>
                  <a:pt x="535" y="533"/>
                </a:lnTo>
                <a:lnTo>
                  <a:pt x="614" y="460"/>
                </a:lnTo>
                <a:lnTo>
                  <a:pt x="698" y="391"/>
                </a:lnTo>
                <a:lnTo>
                  <a:pt x="785" y="327"/>
                </a:lnTo>
                <a:lnTo>
                  <a:pt x="875" y="267"/>
                </a:lnTo>
                <a:lnTo>
                  <a:pt x="969" y="214"/>
                </a:lnTo>
                <a:lnTo>
                  <a:pt x="1067" y="166"/>
                </a:lnTo>
                <a:lnTo>
                  <a:pt x="1168" y="123"/>
                </a:lnTo>
                <a:lnTo>
                  <a:pt x="1272" y="87"/>
                </a:lnTo>
                <a:lnTo>
                  <a:pt x="1379" y="57"/>
                </a:lnTo>
                <a:lnTo>
                  <a:pt x="1488" y="32"/>
                </a:lnTo>
                <a:lnTo>
                  <a:pt x="1599" y="15"/>
                </a:lnTo>
                <a:lnTo>
                  <a:pt x="1713" y="5"/>
                </a:lnTo>
                <a:lnTo>
                  <a:pt x="1829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rgbClr val="19516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  <a:defRPr/>
            </a:pPr>
            <a:endParaRPr sz="2800" dirty="0"/>
          </a:p>
        </p:txBody>
      </p:sp>
      <p:sp>
        <p:nvSpPr>
          <p:cNvPr id="7" name="Shape3_20210630_091508">
            <a:extLst>
              <a:ext uri="{FF2B5EF4-FFF2-40B4-BE49-F238E27FC236}">
                <a16:creationId xmlns:a16="http://schemas.microsoft.com/office/drawing/2014/main" id="{49B5DFDC-F488-FF1D-2F9E-8625DB56136E}"/>
              </a:ext>
            </a:extLst>
          </p:cNvPr>
          <p:cNvSpPr/>
          <p:nvPr/>
        </p:nvSpPr>
        <p:spPr>
          <a:xfrm>
            <a:off x="714254" y="4310130"/>
            <a:ext cx="586706" cy="582473"/>
          </a:xfrm>
          <a:custGeom>
            <a:avLst/>
            <a:gdLst/>
            <a:ahLst/>
            <a:cxnLst/>
            <a:rect l="l" t="t" r="r" b="b"/>
            <a:pathLst>
              <a:path w="3740" h="3713" extrusionOk="0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rgbClr val="19516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endParaRPr sz="2800" dirty="0"/>
          </a:p>
        </p:txBody>
      </p:sp>
      <p:sp>
        <p:nvSpPr>
          <p:cNvPr id="8" name="Shape1_20210621_150455">
            <a:extLst>
              <a:ext uri="{FF2B5EF4-FFF2-40B4-BE49-F238E27FC236}">
                <a16:creationId xmlns:a16="http://schemas.microsoft.com/office/drawing/2014/main" id="{EF42ADD7-89D4-8C32-4512-9BA40D03A197}"/>
              </a:ext>
            </a:extLst>
          </p:cNvPr>
          <p:cNvSpPr txBox="1"/>
          <p:nvPr/>
        </p:nvSpPr>
        <p:spPr>
          <a:xfrm>
            <a:off x="1446809" y="2397772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Shape2_20210621_150455">
            <a:extLst>
              <a:ext uri="{FF2B5EF4-FFF2-40B4-BE49-F238E27FC236}">
                <a16:creationId xmlns:a16="http://schemas.microsoft.com/office/drawing/2014/main" id="{EA4FDDA5-B01D-A40C-7297-113F1DEB0CDC}"/>
              </a:ext>
            </a:extLst>
          </p:cNvPr>
          <p:cNvSpPr txBox="1"/>
          <p:nvPr/>
        </p:nvSpPr>
        <p:spPr>
          <a:xfrm>
            <a:off x="1446809" y="4478253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" name="Google Shape;504;p3">
            <a:extLst>
              <a:ext uri="{FF2B5EF4-FFF2-40B4-BE49-F238E27FC236}">
                <a16:creationId xmlns:a16="http://schemas.microsoft.com/office/drawing/2014/main" id="{60FF1898-B997-A60C-4C9A-498CE3676DE5}"/>
              </a:ext>
            </a:extLst>
          </p:cNvPr>
          <p:cNvSpPr txBox="1"/>
          <p:nvPr/>
        </p:nvSpPr>
        <p:spPr>
          <a:xfrm>
            <a:off x="714252" y="1690723"/>
            <a:ext cx="24155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104A65"/>
              </a:buClr>
              <a:buSzPts val="20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80A15C9-5720-74A5-10E6-05ACDC1022BE}"/>
              </a:ext>
            </a:extLst>
          </p:cNvPr>
          <p:cNvGraphicFramePr/>
          <p:nvPr/>
        </p:nvGraphicFramePr>
        <p:xfrm>
          <a:off x="3703570" y="1653050"/>
          <a:ext cx="7970270" cy="2677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97" name="Group 96">
            <a:extLst>
              <a:ext uri="{FF2B5EF4-FFF2-40B4-BE49-F238E27FC236}">
                <a16:creationId xmlns:a16="http://schemas.microsoft.com/office/drawing/2014/main" id="{899004CB-B007-601B-EC3D-F00C22ED55E3}"/>
              </a:ext>
            </a:extLst>
          </p:cNvPr>
          <p:cNvGrpSpPr/>
          <p:nvPr/>
        </p:nvGrpSpPr>
        <p:grpSpPr>
          <a:xfrm>
            <a:off x="852503" y="2367072"/>
            <a:ext cx="310210" cy="307624"/>
            <a:chOff x="852503" y="2367072"/>
            <a:chExt cx="310210" cy="307624"/>
          </a:xfrm>
          <a:solidFill>
            <a:schemeClr val="accent1"/>
          </a:solidFill>
        </p:grpSpPr>
        <p:sp>
          <p:nvSpPr>
            <p:cNvPr id="12" name="Freeform 1532">
              <a:extLst>
                <a:ext uri="{FF2B5EF4-FFF2-40B4-BE49-F238E27FC236}">
                  <a16:creationId xmlns:a16="http://schemas.microsoft.com/office/drawing/2014/main" id="{C9B3B76A-00E3-949B-3B67-9E3121383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43" y="2577756"/>
              <a:ext cx="76237" cy="74968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3" name="Freeform 1533">
              <a:extLst>
                <a:ext uri="{FF2B5EF4-FFF2-40B4-BE49-F238E27FC236}">
                  <a16:creationId xmlns:a16="http://schemas.microsoft.com/office/drawing/2014/main" id="{833BA89C-0F7A-2F71-F776-B23757C3F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132" y="2369654"/>
              <a:ext cx="85440" cy="84016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4" name="Freeform 1534">
              <a:extLst>
                <a:ext uri="{FF2B5EF4-FFF2-40B4-BE49-F238E27FC236}">
                  <a16:creationId xmlns:a16="http://schemas.microsoft.com/office/drawing/2014/main" id="{B46A76DF-0CEA-129F-B8B3-50641E41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503" y="2414893"/>
              <a:ext cx="95955" cy="73675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5" name="Freeform 1535">
              <a:extLst>
                <a:ext uri="{FF2B5EF4-FFF2-40B4-BE49-F238E27FC236}">
                  <a16:creationId xmlns:a16="http://schemas.microsoft.com/office/drawing/2014/main" id="{E01B0EA9-4E6B-7D02-62F4-D974FC01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38" y="2367072"/>
              <a:ext cx="78867" cy="9435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6" name="Freeform 1536">
              <a:extLst>
                <a:ext uri="{FF2B5EF4-FFF2-40B4-BE49-F238E27FC236}">
                  <a16:creationId xmlns:a16="http://schemas.microsoft.com/office/drawing/2014/main" id="{0368BD0F-19D6-07A7-02A9-3ACBEEFB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258" y="2473059"/>
              <a:ext cx="48634" cy="45239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7" name="Freeform 1537">
              <a:extLst>
                <a:ext uri="{FF2B5EF4-FFF2-40B4-BE49-F238E27FC236}">
                  <a16:creationId xmlns:a16="http://schemas.microsoft.com/office/drawing/2014/main" id="{5D44C515-7763-F712-0397-B50574B1E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3" y="2544150"/>
              <a:ext cx="49949" cy="47824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8" name="Freeform 1538">
              <a:extLst>
                <a:ext uri="{FF2B5EF4-FFF2-40B4-BE49-F238E27FC236}">
                  <a16:creationId xmlns:a16="http://schemas.microsoft.com/office/drawing/2014/main" id="{109343F8-498A-F6F1-E6D8-9A5741851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74" y="2453669"/>
              <a:ext cx="122243" cy="120207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9" name="Freeform 1539">
              <a:extLst>
                <a:ext uri="{FF2B5EF4-FFF2-40B4-BE49-F238E27FC236}">
                  <a16:creationId xmlns:a16="http://schemas.microsoft.com/office/drawing/2014/main" id="{9A72ADFB-4FD5-294F-D0C1-461674B6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155" y="2551904"/>
              <a:ext cx="123558" cy="122792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0" name="Freeform 1540">
              <a:extLst>
                <a:ext uri="{FF2B5EF4-FFF2-40B4-BE49-F238E27FC236}">
                  <a16:creationId xmlns:a16="http://schemas.microsoft.com/office/drawing/2014/main" id="{A0C7EDE6-2C62-CDD6-7044-7A55694E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407" y="2379994"/>
              <a:ext cx="153789" cy="15381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1" name="Freeform 1541">
              <a:extLst>
                <a:ext uri="{FF2B5EF4-FFF2-40B4-BE49-F238E27FC236}">
                  <a16:creationId xmlns:a16="http://schemas.microsoft.com/office/drawing/2014/main" id="{9E4B52B0-792C-3962-6867-17056F212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47" y="2526055"/>
              <a:ext cx="149848" cy="143472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2" name="Freeform 1542">
              <a:extLst>
                <a:ext uri="{FF2B5EF4-FFF2-40B4-BE49-F238E27FC236}">
                  <a16:creationId xmlns:a16="http://schemas.microsoft.com/office/drawing/2014/main" id="{CCDA32D5-7109-03CE-B055-12E70CCA7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916" y="2509249"/>
              <a:ext cx="60466" cy="56874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3" name="Freeform 1543">
              <a:extLst>
                <a:ext uri="{FF2B5EF4-FFF2-40B4-BE49-F238E27FC236}">
                  <a16:creationId xmlns:a16="http://schemas.microsoft.com/office/drawing/2014/main" id="{DEBAD237-4F7E-6CA4-9176-EF3150BE9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23" y="2379997"/>
              <a:ext cx="26289" cy="2585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E8DA0FD-8A85-8AD6-48BB-D9E4F9B2ACEF}"/>
              </a:ext>
            </a:extLst>
          </p:cNvPr>
          <p:cNvGrpSpPr/>
          <p:nvPr/>
        </p:nvGrpSpPr>
        <p:grpSpPr>
          <a:xfrm>
            <a:off x="863016" y="4455330"/>
            <a:ext cx="289178" cy="292066"/>
            <a:chOff x="863016" y="4455330"/>
            <a:chExt cx="289178" cy="292066"/>
          </a:xfrm>
          <a:solidFill>
            <a:schemeClr val="accent1"/>
          </a:solidFill>
        </p:grpSpPr>
        <p:sp>
          <p:nvSpPr>
            <p:cNvPr id="24" name="Freeform 380">
              <a:extLst>
                <a:ext uri="{FF2B5EF4-FFF2-40B4-BE49-F238E27FC236}">
                  <a16:creationId xmlns:a16="http://schemas.microsoft.com/office/drawing/2014/main" id="{328BB8C4-6D86-9D2F-9F0C-DA918B126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16" y="4455330"/>
              <a:ext cx="225559" cy="228450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5" name="Freeform 381">
              <a:extLst>
                <a:ext uri="{FF2B5EF4-FFF2-40B4-BE49-F238E27FC236}">
                  <a16:creationId xmlns:a16="http://schemas.microsoft.com/office/drawing/2014/main" id="{5465DB47-1F51-3563-CBF0-5EAA34759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522" y="4628832"/>
              <a:ext cx="115672" cy="118564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6" name="Freeform 382">
              <a:extLst>
                <a:ext uri="{FF2B5EF4-FFF2-40B4-BE49-F238E27FC236}">
                  <a16:creationId xmlns:a16="http://schemas.microsoft.com/office/drawing/2014/main" id="{269206B2-BF71-4979-2F57-4CDF4D94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608" y="4492919"/>
              <a:ext cx="80971" cy="80971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sp>
        <p:nvSpPr>
          <p:cNvPr id="27" name="Shape1_20210630_091508">
            <a:extLst>
              <a:ext uri="{FF2B5EF4-FFF2-40B4-BE49-F238E27FC236}">
                <a16:creationId xmlns:a16="http://schemas.microsoft.com/office/drawing/2014/main" id="{112B6F28-F3C3-1DD4-C673-67329930E180}"/>
              </a:ext>
            </a:extLst>
          </p:cNvPr>
          <p:cNvSpPr/>
          <p:nvPr/>
        </p:nvSpPr>
        <p:spPr>
          <a:xfrm>
            <a:off x="3645364" y="4497492"/>
            <a:ext cx="8028476" cy="1171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defRPr/>
            </a:pPr>
            <a:endParaRPr sz="2800" dirty="0">
              <a:solidFill>
                <a:srgbClr val="FFFFFF"/>
              </a:solidFill>
            </a:endParaRPr>
          </a:p>
        </p:txBody>
      </p:sp>
      <p:sp>
        <p:nvSpPr>
          <p:cNvPr id="28" name="Google Shape;511;p3">
            <a:extLst>
              <a:ext uri="{FF2B5EF4-FFF2-40B4-BE49-F238E27FC236}">
                <a16:creationId xmlns:a16="http://schemas.microsoft.com/office/drawing/2014/main" id="{111DE949-7DA8-6AF4-0CC4-F26710C17A86}"/>
              </a:ext>
            </a:extLst>
          </p:cNvPr>
          <p:cNvSpPr/>
          <p:nvPr/>
        </p:nvSpPr>
        <p:spPr>
          <a:xfrm>
            <a:off x="3736285" y="5226653"/>
            <a:ext cx="27214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rgbClr val="FFFFFF"/>
                </a:solidFill>
              </a:rPr>
              <a:t>Insert Text Here</a:t>
            </a:r>
            <a:endParaRPr sz="1600" dirty="0">
              <a:solidFill>
                <a:srgbClr val="FFFFFF"/>
              </a:solidFill>
            </a:endParaRPr>
          </a:p>
        </p:txBody>
      </p:sp>
      <p:sp>
        <p:nvSpPr>
          <p:cNvPr id="83" name="Google Shape;513;p3">
            <a:extLst>
              <a:ext uri="{FF2B5EF4-FFF2-40B4-BE49-F238E27FC236}">
                <a16:creationId xmlns:a16="http://schemas.microsoft.com/office/drawing/2014/main" id="{8BF03853-45D8-FADA-F7C7-C5618E190C49}"/>
              </a:ext>
            </a:extLst>
          </p:cNvPr>
          <p:cNvSpPr/>
          <p:nvPr/>
        </p:nvSpPr>
        <p:spPr>
          <a:xfrm>
            <a:off x="4242541" y="4705077"/>
            <a:ext cx="221514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b="1" dirty="0">
              <a:solidFill>
                <a:srgbClr val="FFFFFF"/>
              </a:solidFill>
            </a:endParaRPr>
          </a:p>
        </p:txBody>
      </p:sp>
      <p:sp>
        <p:nvSpPr>
          <p:cNvPr id="84" name="Freeform 843">
            <a:extLst>
              <a:ext uri="{FF2B5EF4-FFF2-40B4-BE49-F238E27FC236}">
                <a16:creationId xmlns:a16="http://schemas.microsoft.com/office/drawing/2014/main" id="{CC2F5BD2-F2F1-6425-B39B-57B8C91EE685}"/>
              </a:ext>
            </a:extLst>
          </p:cNvPr>
          <p:cNvSpPr>
            <a:spLocks noEditPoints="1"/>
          </p:cNvSpPr>
          <p:nvPr/>
        </p:nvSpPr>
        <p:spPr bwMode="auto">
          <a:xfrm>
            <a:off x="3929827" y="4651245"/>
            <a:ext cx="59938" cy="63315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5" name="Freeform 844">
            <a:extLst>
              <a:ext uri="{FF2B5EF4-FFF2-40B4-BE49-F238E27FC236}">
                <a16:creationId xmlns:a16="http://schemas.microsoft.com/office/drawing/2014/main" id="{5D2792CA-E03C-C4DA-99BF-16081FA03EAB}"/>
              </a:ext>
            </a:extLst>
          </p:cNvPr>
          <p:cNvSpPr>
            <a:spLocks noEditPoints="1"/>
          </p:cNvSpPr>
          <p:nvPr/>
        </p:nvSpPr>
        <p:spPr bwMode="auto">
          <a:xfrm>
            <a:off x="3787117" y="4746218"/>
            <a:ext cx="111313" cy="247503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6" name="Freeform 845">
            <a:extLst>
              <a:ext uri="{FF2B5EF4-FFF2-40B4-BE49-F238E27FC236}">
                <a16:creationId xmlns:a16="http://schemas.microsoft.com/office/drawing/2014/main" id="{FF2E1B39-8508-FE58-F22E-D37E473482AF}"/>
              </a:ext>
            </a:extLst>
          </p:cNvPr>
          <p:cNvSpPr>
            <a:spLocks noEditPoints="1"/>
          </p:cNvSpPr>
          <p:nvPr/>
        </p:nvSpPr>
        <p:spPr bwMode="auto">
          <a:xfrm>
            <a:off x="3827078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7" name="Freeform 846">
            <a:extLst>
              <a:ext uri="{FF2B5EF4-FFF2-40B4-BE49-F238E27FC236}">
                <a16:creationId xmlns:a16="http://schemas.microsoft.com/office/drawing/2014/main" id="{7E79494E-1B05-45DF-AA4C-DD22CFF1D019}"/>
              </a:ext>
            </a:extLst>
          </p:cNvPr>
          <p:cNvSpPr>
            <a:spLocks noEditPoints="1"/>
          </p:cNvSpPr>
          <p:nvPr/>
        </p:nvSpPr>
        <p:spPr bwMode="auto">
          <a:xfrm>
            <a:off x="4021158" y="4746218"/>
            <a:ext cx="111313" cy="247503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8" name="Freeform 847">
            <a:extLst>
              <a:ext uri="{FF2B5EF4-FFF2-40B4-BE49-F238E27FC236}">
                <a16:creationId xmlns:a16="http://schemas.microsoft.com/office/drawing/2014/main" id="{56D1E04A-5AB4-4FBD-1A46-EBF3470849BC}"/>
              </a:ext>
            </a:extLst>
          </p:cNvPr>
          <p:cNvSpPr>
            <a:spLocks noEditPoints="1"/>
          </p:cNvSpPr>
          <p:nvPr/>
        </p:nvSpPr>
        <p:spPr bwMode="auto">
          <a:xfrm>
            <a:off x="3884160" y="4726072"/>
            <a:ext cx="148414" cy="267650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9" name="Freeform 848">
            <a:extLst>
              <a:ext uri="{FF2B5EF4-FFF2-40B4-BE49-F238E27FC236}">
                <a16:creationId xmlns:a16="http://schemas.microsoft.com/office/drawing/2014/main" id="{EA078F5D-7BAA-6647-7B28-17F496CA9D11}"/>
              </a:ext>
            </a:extLst>
          </p:cNvPr>
          <p:cNvSpPr>
            <a:spLocks noEditPoints="1"/>
          </p:cNvSpPr>
          <p:nvPr/>
        </p:nvSpPr>
        <p:spPr bwMode="auto">
          <a:xfrm>
            <a:off x="4032577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0" name="Freeform 849">
            <a:extLst>
              <a:ext uri="{FF2B5EF4-FFF2-40B4-BE49-F238E27FC236}">
                <a16:creationId xmlns:a16="http://schemas.microsoft.com/office/drawing/2014/main" id="{A7FCDD82-BAA5-79B4-74D0-519A3AEF93D5}"/>
              </a:ext>
            </a:extLst>
          </p:cNvPr>
          <p:cNvSpPr>
            <a:spLocks/>
          </p:cNvSpPr>
          <p:nvPr/>
        </p:nvSpPr>
        <p:spPr bwMode="auto">
          <a:xfrm>
            <a:off x="3955512" y="4869968"/>
            <a:ext cx="8565" cy="103606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1" name="Freeform 850">
            <a:extLst>
              <a:ext uri="{FF2B5EF4-FFF2-40B4-BE49-F238E27FC236}">
                <a16:creationId xmlns:a16="http://schemas.microsoft.com/office/drawing/2014/main" id="{CF3C4BEA-E6AD-B7AB-3D7B-B8352E826E8A}"/>
              </a:ext>
            </a:extLst>
          </p:cNvPr>
          <p:cNvSpPr>
            <a:spLocks/>
          </p:cNvSpPr>
          <p:nvPr/>
        </p:nvSpPr>
        <p:spPr bwMode="auto">
          <a:xfrm>
            <a:off x="3915553" y="4774997"/>
            <a:ext cx="8565" cy="7482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2" name="Freeform 851">
            <a:extLst>
              <a:ext uri="{FF2B5EF4-FFF2-40B4-BE49-F238E27FC236}">
                <a16:creationId xmlns:a16="http://schemas.microsoft.com/office/drawing/2014/main" id="{E54A1648-BB6D-C8A9-7FA2-979F5B9D956E}"/>
              </a:ext>
            </a:extLst>
          </p:cNvPr>
          <p:cNvSpPr>
            <a:spLocks/>
          </p:cNvSpPr>
          <p:nvPr/>
        </p:nvSpPr>
        <p:spPr bwMode="auto">
          <a:xfrm>
            <a:off x="3992616" y="4774997"/>
            <a:ext cx="11416" cy="7482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3" name="Google Shape;497;p3">
            <a:extLst>
              <a:ext uri="{FF2B5EF4-FFF2-40B4-BE49-F238E27FC236}">
                <a16:creationId xmlns:a16="http://schemas.microsoft.com/office/drawing/2014/main" id="{D059D40D-EC2E-9797-C9F7-0D6C39692076}"/>
              </a:ext>
            </a:extLst>
          </p:cNvPr>
          <p:cNvSpPr txBox="1">
            <a:spLocks/>
          </p:cNvSpPr>
          <p:nvPr/>
        </p:nvSpPr>
        <p:spPr>
          <a:xfrm>
            <a:off x="714255" y="1919516"/>
            <a:ext cx="2415508" cy="19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600" dirty="0"/>
              <a:t>Insert text here</a:t>
            </a:r>
            <a:endParaRPr sz="1600" dirty="0"/>
          </a:p>
        </p:txBody>
      </p:sp>
      <p:cxnSp>
        <p:nvCxnSpPr>
          <p:cNvPr id="95" name="Google Shape;514;p3">
            <a:extLst>
              <a:ext uri="{FF2B5EF4-FFF2-40B4-BE49-F238E27FC236}">
                <a16:creationId xmlns:a16="http://schemas.microsoft.com/office/drawing/2014/main" id="{17786058-5070-4892-CC87-0B0D163EB497}"/>
              </a:ext>
            </a:extLst>
          </p:cNvPr>
          <p:cNvCxnSpPr>
            <a:cxnSpLocks/>
          </p:cNvCxnSpPr>
          <p:nvPr/>
        </p:nvCxnSpPr>
        <p:spPr>
          <a:xfrm>
            <a:off x="3392016" y="1565742"/>
            <a:ext cx="0" cy="4103453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09275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1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6</cp:revision>
  <dcterms:created xsi:type="dcterms:W3CDTF">2021-03-31T02:49:57Z</dcterms:created>
  <dcterms:modified xsi:type="dcterms:W3CDTF">2025-10-16T10:51:56Z</dcterms:modified>
  <cp:category/>
</cp:coreProperties>
</file>